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5:32.341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5:32.341" v="5" actId="27918"/>
        <pc:sldMkLst>
          <pc:docMk/>
          <pc:sldMk cId="2251798312" sldId="41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onnements généraux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2630-4479-9F8E-BA646FF15BA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\,##0.000</c:formatCode>
                <c:ptCount val="11"/>
                <c:pt idx="0">
                  <c:v>0.46013499999999996</c:v>
                </c:pt>
                <c:pt idx="1">
                  <c:v>0.47218299999999996</c:v>
                </c:pt>
                <c:pt idx="2">
                  <c:v>0.48016999999999999</c:v>
                </c:pt>
                <c:pt idx="3">
                  <c:v>0.490205</c:v>
                </c:pt>
                <c:pt idx="4">
                  <c:v>0.49952999999999997</c:v>
                </c:pt>
                <c:pt idx="5">
                  <c:v>0.43870999999999999</c:v>
                </c:pt>
                <c:pt idx="6">
                  <c:v>0.40637099999999998</c:v>
                </c:pt>
                <c:pt idx="7">
                  <c:v>0.43076799999999998</c:v>
                </c:pt>
                <c:pt idx="8">
                  <c:v>0.44716599999999995</c:v>
                </c:pt>
                <c:pt idx="9">
                  <c:v>0.42486499999999999</c:v>
                </c:pt>
                <c:pt idx="10">
                  <c:v>0.422782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onnements demi-tarif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2630-4479-9F8E-BA646FF15BA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00</c:formatCode>
                <c:ptCount val="11"/>
                <c:pt idx="0">
                  <c:v>2.3324039999999999</c:v>
                </c:pt>
                <c:pt idx="1">
                  <c:v>2.3949219999999998</c:v>
                </c:pt>
                <c:pt idx="2">
                  <c:v>2.5310319999999997</c:v>
                </c:pt>
                <c:pt idx="3">
                  <c:v>2.597655</c:v>
                </c:pt>
                <c:pt idx="4">
                  <c:v>2.7219449999999998</c:v>
                </c:pt>
                <c:pt idx="5">
                  <c:v>2.720812</c:v>
                </c:pt>
                <c:pt idx="6">
                  <c:v>2.828964</c:v>
                </c:pt>
                <c:pt idx="7">
                  <c:v>2.9686149999999998</c:v>
                </c:pt>
                <c:pt idx="8">
                  <c:v>3.1466789999999998</c:v>
                </c:pt>
                <c:pt idx="9">
                  <c:v>3.338282</c:v>
                </c:pt>
                <c:pt idx="10">
                  <c:v>3.452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279511413290545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20208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50578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llions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d’abonnements</a:t>
          </a:r>
          <a:endParaRPr lang="de-CH" sz="1100" dirty="0">
            <a:solidFill>
              <a:schemeClr val="tx2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16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Clients régulier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7368681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onnements généraux et abonnements demi-tarif du Service direct Suiss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1795" y="55772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251798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35A2F1CC-1984-4C1A-AE63-B86F9C426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schemas.microsoft.com/office/infopath/2007/PartnerControls"/>
    <ds:schemaRef ds:uri="http://purl.org/dc/elements/1.1/"/>
    <ds:schemaRef ds:uri="http://purl.org/dc/dcmitype/"/>
    <ds:schemaRef ds:uri="http://schemas.microsoft.com/office/2006/metadata/properties"/>
    <ds:schemaRef ds:uri="2f5c8543-cf23-4718-a3b8-32b0a91d511a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6e82a89-ba48-4728-b345-cf206dbec8f1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s réguli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s réguliers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